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  <p:sldMasterId id="2147483918" r:id="rId5"/>
  </p:sldMasterIdLst>
  <p:notesMasterIdLst>
    <p:notesMasterId r:id="rId7"/>
  </p:notesMasterIdLst>
  <p:sldIdLst>
    <p:sldId id="273" r:id="rId6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58B022-4E2D-529D-F92B-7FCF5947C345}" name="Abella, Milica" initials="MA" userId="S::mjovanov1@PMINTL.NET::2744bf2a-d1bd-4bff-87d3-71cc0cec9e26" providerId="AD"/>
  <p188:author id="{95DC5FA8-1C76-B235-B149-DC7808C801B4}" name="Ogawa, Kenta" initials="OK" userId="S::kogawa2@PMINTL.NET::222fb1e5-e3a5-4dd9-afc8-a18936b4af6e" providerId="AD"/>
  <p188:author id="{B8C7F5C7-0A07-18A0-4B85-0223C364A055}" name="Inoue, Chigusa" initials="CI" userId="S::cinoue1@PMINTL.NET::04612c7f-a7f3-43dd-9408-576f78b81cf8" providerId="AD"/>
  <p188:author id="{E2A704CC-4491-B1A5-59BB-856D31D11BA2}" name="Seah, Darren" initials="SD" userId="S::dseah@pmintl.net::e1909721-f5ab-4cc3-946f-d5d07f3d6b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87FBB"/>
    <a:srgbClr val="29ABDE"/>
    <a:srgbClr val="336600"/>
    <a:srgbClr val="006600"/>
    <a:srgbClr val="6CB9CE"/>
    <a:srgbClr val="3333FF"/>
    <a:srgbClr val="FF9000"/>
    <a:srgbClr val="6699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8D88C9-7360-46A1-B87F-12D65EAF674D}" v="67" dt="2025-05-21T05:26:47.3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22" autoAdjust="0"/>
    <p:restoredTop sz="96247" autoAdjust="0"/>
  </p:normalViewPr>
  <p:slideViewPr>
    <p:cSldViewPr snapToGrid="0">
      <p:cViewPr>
        <p:scale>
          <a:sx n="69" d="100"/>
          <a:sy n="69" d="100"/>
        </p:scale>
        <p:origin x="830" y="3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288043-7976-45F4-8702-8D2417241BB8}" type="datetimeFigureOut">
              <a:rPr lang="en-US" smtClean="0"/>
              <a:t>5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827E43-9A70-4656-84FD-07FD9E2B2D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894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2" name="Picture 4" descr="strip_device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3" name="Picture 11" descr="OO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534" y="730251"/>
            <a:ext cx="7016751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58852" y="2159000"/>
            <a:ext cx="10077449" cy="2209800"/>
          </a:xfrm>
        </p:spPr>
        <p:txBody>
          <a:bodyPr lIns="90000" rIns="90000" anchor="t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80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edit Master title styl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r>
              <a:rPr lang="en-US" sz="2800" b="1">
                <a:solidFill>
                  <a:srgbClr val="0067B1"/>
                </a:solidFill>
              </a:rPr>
              <a:t>Click to edit sub-title style</a:t>
            </a:r>
            <a:br>
              <a:rPr lang="en-US" sz="2800" b="1">
                <a:solidFill>
                  <a:srgbClr val="0067B1"/>
                </a:solidFill>
              </a:rPr>
            </a:br>
            <a:endParaRPr lang="fr-FR" noProof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58852" y="4470400"/>
            <a:ext cx="10077449" cy="1473200"/>
          </a:xfrm>
        </p:spPr>
        <p:txBody>
          <a:bodyPr anchor="b"/>
          <a:lstStyle>
            <a:lvl1pPr marL="0" indent="0">
              <a:buNone/>
              <a:defRPr/>
            </a:lvl1pPr>
          </a:lstStyle>
          <a:p>
            <a:pPr algn="ctr"/>
            <a:r>
              <a:rPr lang="en-US" i="1">
                <a:solidFill>
                  <a:srgbClr val="0067B1"/>
                </a:solidFill>
              </a:rPr>
              <a:t>(Place), MMMM DD, YYYY</a:t>
            </a:r>
            <a:endParaRPr lang="en-US">
              <a:solidFill>
                <a:srgbClr val="0067B1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-1371600" y="2160589"/>
            <a:ext cx="1138767" cy="871537"/>
          </a:xfrm>
          <a:prstGeom prst="rect">
            <a:avLst/>
          </a:prstGeom>
          <a:solidFill>
            <a:srgbClr val="009CDC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ullets 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56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220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-1371600" y="1162051"/>
            <a:ext cx="1138767" cy="871537"/>
          </a:xfrm>
          <a:prstGeom prst="rect">
            <a:avLst/>
          </a:prstGeom>
          <a:solidFill>
            <a:srgbClr val="0070C0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ody Text &amp; Line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12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92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-1371600" y="163514"/>
            <a:ext cx="1138767" cy="871537"/>
          </a:xfrm>
          <a:prstGeom prst="rect">
            <a:avLst/>
          </a:prstGeom>
          <a:solidFill>
            <a:srgbClr val="0067B1">
              <a:alpha val="8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Titles &amp; Filling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03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77</a:t>
            </a:r>
          </a:p>
        </p:txBody>
      </p:sp>
      <p:sp>
        <p:nvSpPr>
          <p:cNvPr id="11" name="Text Box 8"/>
          <p:cNvSpPr txBox="1">
            <a:spLocks noChangeArrowheads="1"/>
          </p:cNvSpPr>
          <p:nvPr userDrawn="1"/>
        </p:nvSpPr>
        <p:spPr bwMode="auto">
          <a:xfrm>
            <a:off x="3621532" y="6647934"/>
            <a:ext cx="472437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>
                <a:solidFill>
                  <a:srgbClr val="FF0000"/>
                </a:solidFill>
              </a:rPr>
              <a:t>CONFIDENTIAL </a:t>
            </a:r>
            <a:r>
              <a:rPr lang="en-US" sz="900">
                <a:solidFill>
                  <a:srgbClr val="000000">
                    <a:lumMod val="50000"/>
                  </a:srgbClr>
                </a:solidFill>
              </a:rPr>
              <a:t>– Restricted distribution. For the commercialization of PMI’s RRPs only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477829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2802" y="574702"/>
            <a:ext cx="10248900" cy="3046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102784" y="1343029"/>
            <a:ext cx="4936067" cy="4678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2069" y="1343029"/>
            <a:ext cx="4938183" cy="4678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515892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"/>
          <p:cNvSpPr/>
          <p:nvPr userDrawn="1"/>
        </p:nvSpPr>
        <p:spPr>
          <a:xfrm>
            <a:off x="0" y="-5458"/>
            <a:ext cx="12224544" cy="6868915"/>
          </a:xfrm>
          <a:prstGeom prst="rect">
            <a:avLst/>
          </a:prstGeom>
          <a:gradFill>
            <a:gsLst>
              <a:gs pos="0">
                <a:schemeClr val="accent1">
                  <a:hueOff val="-3162125"/>
                  <a:satOff val="-40679"/>
                  <a:lumOff val="24883"/>
                </a:schemeClr>
              </a:gs>
              <a:gs pos="100000">
                <a:schemeClr val="accent2">
                  <a:hueOff val="4215009"/>
                  <a:lumOff val="16491"/>
                </a:schemeClr>
              </a:gs>
            </a:gsLst>
            <a:lin ang="5400000"/>
          </a:gra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85980" y="130629"/>
            <a:ext cx="11846363" cy="659084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3200">
              <a:solidFill>
                <a:srgbClr val="FFFFFF"/>
              </a:solidFill>
              <a:latin typeface="Calibri" panose="020F0502020204030204" pitchFamily="34" charset="0"/>
              <a:ea typeface="Helvetica Light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12" name="Shape 4"/>
          <p:cNvSpPr>
            <a:spLocks noGrp="1"/>
          </p:cNvSpPr>
          <p:nvPr>
            <p:ph type="title"/>
          </p:nvPr>
        </p:nvSpPr>
        <p:spPr>
          <a:xfrm>
            <a:off x="185980" y="130629"/>
            <a:ext cx="10502900" cy="7217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14" name="Shape 5"/>
          <p:cNvSpPr>
            <a:spLocks noGrp="1"/>
          </p:cNvSpPr>
          <p:nvPr>
            <p:ph type="sldNum" sz="quarter" idx="4"/>
          </p:nvPr>
        </p:nvSpPr>
        <p:spPr>
          <a:xfrm>
            <a:off x="11954908" y="6537458"/>
            <a:ext cx="239599" cy="410369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spAutoFit/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defTabSz="412750" hangingPunct="0"/>
            <a:fld id="{86CB4B4D-7CA3-9044-876B-883B54F8677D}" type="slidenum">
              <a:rPr lang="en-US" altLang="ja-JP" kern="0" smtClean="0">
                <a:sym typeface="Planer Medium"/>
              </a:rPr>
              <a:pPr defTabSz="412750" hangingPunct="0"/>
              <a:t>‹#›</a:t>
            </a:fld>
            <a:endParaRPr lang="en-US" altLang="ja-JP" kern="0">
              <a:sym typeface="Planer Medium"/>
            </a:endParaRPr>
          </a:p>
        </p:txBody>
      </p:sp>
      <p:sp>
        <p:nvSpPr>
          <p:cNvPr id="19" name="Shape 6"/>
          <p:cNvSpPr>
            <a:spLocks noGrp="1"/>
          </p:cNvSpPr>
          <p:nvPr>
            <p:ph idx="1"/>
          </p:nvPr>
        </p:nvSpPr>
        <p:spPr>
          <a:xfrm>
            <a:off x="984250" y="1619250"/>
            <a:ext cx="10502900" cy="4603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72418888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"/>
          <p:cNvSpPr/>
          <p:nvPr userDrawn="1"/>
        </p:nvSpPr>
        <p:spPr>
          <a:xfrm>
            <a:off x="0" y="-5458"/>
            <a:ext cx="12224544" cy="6868915"/>
          </a:xfrm>
          <a:prstGeom prst="rect">
            <a:avLst/>
          </a:prstGeom>
          <a:gradFill>
            <a:gsLst>
              <a:gs pos="0">
                <a:schemeClr val="accent1">
                  <a:hueOff val="-3162125"/>
                  <a:satOff val="-40679"/>
                  <a:lumOff val="24883"/>
                </a:schemeClr>
              </a:gs>
              <a:gs pos="100000">
                <a:schemeClr val="accent2">
                  <a:hueOff val="4215009"/>
                  <a:lumOff val="16491"/>
                </a:schemeClr>
              </a:gs>
            </a:gsLst>
            <a:lin ang="5400000"/>
          </a:gra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Shape 3"/>
          <p:cNvSpPr/>
          <p:nvPr userDrawn="1"/>
        </p:nvSpPr>
        <p:spPr>
          <a:xfrm>
            <a:off x="185980" y="130629"/>
            <a:ext cx="11846363" cy="659084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3200">
              <a:solidFill>
                <a:srgbClr val="FFFFFF"/>
              </a:solidFill>
              <a:latin typeface="Calibri" panose="020F0502020204030204" pitchFamily="34" charset="0"/>
              <a:ea typeface="Helvetica Light"/>
              <a:cs typeface="Calibri" panose="020F0502020204030204" pitchFamily="34" charset="0"/>
              <a:sym typeface="Helvetica Light"/>
            </a:endParaRPr>
          </a:p>
        </p:txBody>
      </p:sp>
      <p:sp>
        <p:nvSpPr>
          <p:cNvPr id="12" name="Shape 4"/>
          <p:cNvSpPr>
            <a:spLocks noGrp="1"/>
          </p:cNvSpPr>
          <p:nvPr>
            <p:ph type="title"/>
          </p:nvPr>
        </p:nvSpPr>
        <p:spPr>
          <a:xfrm>
            <a:off x="185980" y="130629"/>
            <a:ext cx="10502900" cy="7217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/>
          </a:p>
        </p:txBody>
      </p:sp>
      <p:sp>
        <p:nvSpPr>
          <p:cNvPr id="14" name="Shape 5"/>
          <p:cNvSpPr>
            <a:spLocks noGrp="1"/>
          </p:cNvSpPr>
          <p:nvPr>
            <p:ph type="sldNum" sz="quarter" idx="4"/>
          </p:nvPr>
        </p:nvSpPr>
        <p:spPr>
          <a:xfrm>
            <a:off x="11954908" y="6537458"/>
            <a:ext cx="239599" cy="410369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ctr">
            <a:spAutoFit/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defTabSz="412750" hangingPunct="0"/>
            <a:fld id="{86CB4B4D-7CA3-9044-876B-883B54F8677D}" type="slidenum">
              <a:rPr lang="en-US" altLang="ja-JP" kern="0" smtClean="0">
                <a:sym typeface="Planer Medium"/>
              </a:rPr>
              <a:pPr defTabSz="412750" hangingPunct="0"/>
              <a:t>‹#›</a:t>
            </a:fld>
            <a:endParaRPr lang="en-US" altLang="ja-JP" kern="0">
              <a:sym typeface="Planer Medium"/>
            </a:endParaRPr>
          </a:p>
        </p:txBody>
      </p:sp>
      <p:sp>
        <p:nvSpPr>
          <p:cNvPr id="19" name="Shape 6"/>
          <p:cNvSpPr>
            <a:spLocks noGrp="1"/>
          </p:cNvSpPr>
          <p:nvPr>
            <p:ph idx="1"/>
          </p:nvPr>
        </p:nvSpPr>
        <p:spPr>
          <a:xfrm>
            <a:off x="984250" y="1619250"/>
            <a:ext cx="10502900" cy="4603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>
            <a:lvl1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1764453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 Title +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D08A0-A387-4E61-AB71-9F230A8B7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45733"/>
            <a:ext cx="10515600" cy="375920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54A4-C74A-4D03-B1AB-FF9084D6A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904999"/>
            <a:ext cx="11314814" cy="2767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9463B0F-F81C-49ED-8667-64F63EB18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sz="900" spc="200"/>
              <a:t>CONFIDENTIAL: </a:t>
            </a:r>
            <a:r>
              <a:rPr lang="en-GB" sz="900">
                <a:solidFill>
                  <a:schemeClr val="tx2"/>
                </a:solidFill>
              </a:rPr>
              <a:t>Restricted distribution. For the commercialization of PMI’s RRPs only</a:t>
            </a:r>
            <a:endParaRPr lang="en-GB" sz="800">
              <a:solidFill>
                <a:schemeClr val="tx2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0FB411-2CF1-4DCD-BE60-DBC451E8FD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B4C954-66AB-41D8-88B0-5CCF6B8934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22954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1785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8F8F8"/>
              </a:solidFill>
              <a:ea typeface="ＭＳ Ｐゴシック" pitchFamily="34" charset="-128"/>
            </a:endParaRPr>
          </a:p>
        </p:txBody>
      </p:sp>
      <p:sp>
        <p:nvSpPr>
          <p:cNvPr id="6656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25452" y="3082925"/>
            <a:ext cx="10077449" cy="1008063"/>
          </a:xfrm>
        </p:spPr>
        <p:txBody>
          <a:bodyPr lIns="90000" rIns="90000" anchor="t"/>
          <a:lstStyle>
            <a:lvl1pPr>
              <a:defRPr sz="2800"/>
            </a:lvl1pPr>
          </a:lstStyle>
          <a:p>
            <a:pPr lvl="0"/>
            <a:r>
              <a:rPr lang="fr-FR" noProof="0"/>
              <a:t>Cliquez pour modifier le style du titre</a:t>
            </a:r>
          </a:p>
        </p:txBody>
      </p:sp>
      <p:sp>
        <p:nvSpPr>
          <p:cNvPr id="66560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425452" y="4394201"/>
            <a:ext cx="10077449" cy="1800225"/>
          </a:xfrm>
        </p:spPr>
        <p:txBody>
          <a:bodyPr lIns="91440" rIns="91440"/>
          <a:lstStyle>
            <a:lvl1pPr marL="0" indent="0">
              <a:buFont typeface="Arial" charset="0"/>
              <a:buNone/>
              <a:defRPr/>
            </a:lvl1pPr>
          </a:lstStyle>
          <a:p>
            <a:pPr lvl="0"/>
            <a:r>
              <a:rPr lang="fr-FR" noProof="0"/>
              <a:t>Cliquez pour modifier le style des sous-titres du masque</a:t>
            </a:r>
          </a:p>
        </p:txBody>
      </p:sp>
      <p:pic>
        <p:nvPicPr>
          <p:cNvPr id="665607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08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OO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2" y="410368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8573105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8041266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553031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7266474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8430940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half" idx="1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164089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117" y="928724"/>
            <a:ext cx="11176000" cy="5292884"/>
          </a:xfrm>
        </p:spPr>
        <p:txBody>
          <a:bodyPr/>
          <a:lstStyle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5235" y="-85100"/>
            <a:ext cx="9596967" cy="71913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902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83118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1"/>
          </p:nvPr>
        </p:nvSpPr>
        <p:spPr>
          <a:xfrm>
            <a:off x="4174403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7972401" y="1314451"/>
            <a:ext cx="3586716" cy="48117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198102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2"/>
          </p:nvPr>
        </p:nvSpPr>
        <p:spPr>
          <a:xfrm>
            <a:off x="60727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3"/>
          </p:nvPr>
        </p:nvSpPr>
        <p:spPr>
          <a:xfrm>
            <a:off x="60727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383117" y="3795713"/>
            <a:ext cx="5486400" cy="2330450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383117" y="1314451"/>
            <a:ext cx="5486400" cy="2328863"/>
          </a:xfrm>
        </p:spPr>
        <p:txBody>
          <a:bodyPr/>
          <a:lstStyle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8635210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0528253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6076481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Sub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958852" y="3778251"/>
            <a:ext cx="10077449" cy="18002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2400">
                <a:solidFill>
                  <a:srgbClr val="009CDC"/>
                </a:solidFill>
                <a:effectLst/>
              </a:defRPr>
            </a:lvl1pPr>
          </a:lstStyle>
          <a:p>
            <a:pPr marL="180975" lvl="0" indent="-180975" fontAlgn="base">
              <a:spcBef>
                <a:spcPct val="20000"/>
              </a:spcBef>
              <a:spcAft>
                <a:spcPct val="0"/>
              </a:spcAft>
              <a:buClr>
                <a:srgbClr val="009CDC"/>
              </a:buClr>
            </a:pPr>
            <a:r>
              <a:rPr lang="en-US">
                <a:effectLst/>
              </a:rPr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958852" y="2159001"/>
            <a:ext cx="10077449" cy="14398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54000" rIns="90000" bIns="54000" anchor="t" anchorCtr="0" compatLnSpc="1">
            <a:prstTxWarp prst="textNoShape">
              <a:avLst/>
            </a:prstTxWarp>
          </a:bodyPr>
          <a:lstStyle>
            <a:lvl1pPr>
              <a:defRPr lang="en-US" sz="2800">
                <a:solidFill>
                  <a:srgbClr val="006393"/>
                </a:solidFill>
                <a:effectLst/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>
                <a:effectLst/>
              </a:rPr>
              <a:t>Click to add title</a:t>
            </a:r>
          </a:p>
        </p:txBody>
      </p:sp>
      <p:pic>
        <p:nvPicPr>
          <p:cNvPr id="9" name="Picture 4" descr="strip_device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OO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730250"/>
            <a:ext cx="5262563" cy="75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btfpLayoutConfig" hidden="1"/>
          <p:cNvSpPr txBox="1"/>
          <p:nvPr userDrawn="1">
            <p:custDataLst>
              <p:tags r:id="rId5"/>
            </p:custDataLst>
          </p:nvPr>
        </p:nvSpPr>
        <p:spPr bwMode="gray">
          <a:xfrm>
            <a:off x="12700" y="12700"/>
            <a:ext cx="35426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kumimoji="0" lang="en-US" sz="100">
                <a:solidFill>
                  <a:srgbClr val="FFFFFF">
                    <a:alpha val="0"/>
                  </a:srgbClr>
                </a:solidFill>
              </a:rPr>
              <a:t>overall_0_131759701721992519 columns_1_131759701721992519 </a:t>
            </a:r>
            <a:endParaRPr kumimoji="0" lang="ru-RU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CD8158E3-EF3F-4D47-8ADF-05FEF9CBA367}"/>
              </a:ext>
            </a:extLst>
          </p:cNvPr>
          <p:cNvSpPr/>
          <p:nvPr userDrawn="1"/>
        </p:nvSpPr>
        <p:spPr>
          <a:xfrm>
            <a:off x="0" y="0"/>
            <a:ext cx="30123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en-GB" sz="900">
                <a:solidFill>
                  <a:srgbClr val="C00000"/>
                </a:solidFill>
                <a:latin typeface="Lato Medium"/>
              </a:rPr>
              <a:t>Confidential – For internal use only, not for distribution  </a:t>
            </a:r>
            <a:endParaRPr lang="en-US" sz="900">
              <a:solidFill>
                <a:srgbClr val="C00000"/>
              </a:solidFill>
              <a:latin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8867876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effectLst/>
        </p:spPr>
        <p:txBody>
          <a:bodyPr/>
          <a:lstStyle>
            <a:lvl1pPr>
              <a:defRPr>
                <a:solidFill>
                  <a:srgbClr val="006393"/>
                </a:solidFill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>
            <p:custDataLst>
              <p:tags r:id="rId2"/>
            </p:custDataLst>
          </p:nvPr>
        </p:nvSpPr>
        <p:spPr>
          <a:xfrm>
            <a:off x="12700" y="12700"/>
            <a:ext cx="426967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kumimoji="0" lang="en-US" sz="100">
                <a:solidFill>
                  <a:srgbClr val="FFFFFF">
                    <a:alpha val="0"/>
                  </a:srgbClr>
                </a:solidFill>
              </a:rPr>
              <a:t>overall_0_131691348272662829 columns_1_131691348272662829 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021812BB-1920-493C-B699-A3925B105B20}"/>
              </a:ext>
            </a:extLst>
          </p:cNvPr>
          <p:cNvSpPr/>
          <p:nvPr userDrawn="1"/>
        </p:nvSpPr>
        <p:spPr>
          <a:xfrm>
            <a:off x="0" y="0"/>
            <a:ext cx="30123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en-GB" sz="900">
                <a:solidFill>
                  <a:srgbClr val="C00000"/>
                </a:solidFill>
                <a:latin typeface="Lato Medium"/>
              </a:rPr>
              <a:t>Confidential – For internal use only, not for distribution  </a:t>
            </a:r>
            <a:endParaRPr lang="en-US" sz="900">
              <a:solidFill>
                <a:srgbClr val="C00000"/>
              </a:solidFill>
              <a:latin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87853898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C012D0D3-F1D8-449C-A36B-96BD8D9A36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3118" y="714927"/>
            <a:ext cx="11199284" cy="696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ctr" anchorCtr="0" compatLnSpc="1">
            <a:prstTxWarp prst="textNoShape">
              <a:avLst/>
            </a:prstTxWarp>
          </a:bodyPr>
          <a:lstStyle>
            <a:lvl1pPr marL="0" indent="0">
              <a:buNone/>
              <a:defRPr lang="ja-JP" altLang="en-US" sz="1600" b="0" smtClean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285750" indent="0">
              <a:buNone/>
              <a:defRPr kumimoji="1" lang="ja-JP" altLang="en-US" sz="2400" kern="1200" smtClean="0">
                <a:latin typeface="Arial" charset="0"/>
              </a:defRPr>
            </a:lvl2pPr>
            <a:lvl3pPr>
              <a:defRPr kumimoji="1" lang="ja-JP" altLang="en-US" sz="2400" kern="1200" smtClean="0">
                <a:latin typeface="Arial" charset="0"/>
              </a:defRPr>
            </a:lvl3pPr>
            <a:lvl4pPr>
              <a:defRPr kumimoji="1" lang="ja-JP" altLang="en-US" sz="2400" kern="1200" smtClean="0">
                <a:latin typeface="Arial" charset="0"/>
              </a:defRPr>
            </a:lvl4pPr>
            <a:lvl5pPr>
              <a:defRPr kumimoji="1" lang="ja-JP" altLang="en-US" sz="2400" kern="1200">
                <a:latin typeface="Arial" charset="0"/>
              </a:defRPr>
            </a:lvl5pPr>
          </a:lstStyle>
          <a:p>
            <a:pPr marL="0" lvl="0" eaLnBrk="1" hangingPunct="1">
              <a:spcBef>
                <a:spcPct val="0"/>
              </a:spcBef>
            </a:pPr>
            <a:r>
              <a:rPr kumimoji="1" lang="en-US" altLang="ja-JP"/>
              <a:t>Click to edi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27625011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958852" y="3778251"/>
            <a:ext cx="10077449" cy="18002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2400" dirty="0">
                <a:solidFill>
                  <a:srgbClr val="009CDC"/>
                </a:solidFill>
              </a:defRPr>
            </a:lvl1pPr>
          </a:lstStyle>
          <a:p>
            <a:pPr marL="180975" lvl="0" indent="-180975" fontAlgn="base">
              <a:spcBef>
                <a:spcPct val="20000"/>
              </a:spcBef>
              <a:spcAft>
                <a:spcPct val="0"/>
              </a:spcAft>
              <a:buClr>
                <a:srgbClr val="009CDC"/>
              </a:buClr>
            </a:pPr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958852" y="2159001"/>
            <a:ext cx="10077449" cy="14398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54000" rIns="90000" bIns="54000" numCol="1" anchor="t" anchorCtr="0" compatLnSpc="1">
            <a:prstTxWarp prst="textNoShape">
              <a:avLst/>
            </a:prstTxWarp>
          </a:bodyPr>
          <a:lstStyle>
            <a:lvl1pPr>
              <a:defRPr lang="en-US" sz="2800" dirty="0">
                <a:solidFill>
                  <a:srgbClr val="006393"/>
                </a:solidFill>
              </a:defRPr>
            </a:lvl1pPr>
          </a:lstStyle>
          <a:p>
            <a:pPr lvl="0" fontAlgn="base">
              <a:spcAft>
                <a:spcPct val="0"/>
              </a:spcAft>
            </a:pPr>
            <a:r>
              <a:rPr lang="en-US"/>
              <a:t>Click to add title</a:t>
            </a:r>
          </a:p>
        </p:txBody>
      </p:sp>
      <p:pic>
        <p:nvPicPr>
          <p:cNvPr id="9" name="Picture 4" descr="strip_device"/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OOO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440" y="730250"/>
            <a:ext cx="526256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Sticker96978"/>
          <p:cNvGrpSpPr/>
          <p:nvPr userDrawn="1">
            <p:custDataLst>
              <p:tags r:id="rId1"/>
            </p:custDataLst>
          </p:nvPr>
        </p:nvGrpSpPr>
        <p:grpSpPr>
          <a:xfrm>
            <a:off x="913968" y="5943167"/>
            <a:ext cx="5741123" cy="247652"/>
            <a:chOff x="6019471" y="1222146"/>
            <a:chExt cx="5741123" cy="247652"/>
          </a:xfrm>
          <a:effectLst/>
        </p:grpSpPr>
        <p:sp>
          <p:nvSpPr>
            <p:cNvPr id="7" name="StickerText96978"/>
            <p:cNvSpPr txBox="1"/>
            <p:nvPr/>
          </p:nvSpPr>
          <p:spPr>
            <a:xfrm>
              <a:off x="6019471" y="1238250"/>
              <a:ext cx="5741123" cy="215444"/>
            </a:xfrm>
            <a:prstGeom prst="rect">
              <a:avLst/>
            </a:prstGeom>
            <a:noFill/>
            <a:effectLst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 defTabSz="711200">
                <a:spcBef>
                  <a:spcPts val="1200"/>
                </a:spcBef>
              </a:pPr>
              <a:r>
                <a:rPr lang="en-US" sz="1400" b="1" cap="all">
                  <a:solidFill>
                    <a:srgbClr val="000000"/>
                  </a:solidFill>
                </a:rPr>
                <a:t>For internal discussion &amp; review / not approved by management </a:t>
              </a:r>
            </a:p>
          </p:txBody>
        </p:sp>
        <p:cxnSp>
          <p:nvCxnSpPr>
            <p:cNvPr id="8" name="StickerLineTop96978"/>
            <p:cNvCxnSpPr/>
            <p:nvPr/>
          </p:nvCxnSpPr>
          <p:spPr>
            <a:xfrm>
              <a:off x="6064355" y="1222146"/>
              <a:ext cx="5651355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ickerLineBottom96978"/>
            <p:cNvCxnSpPr/>
            <p:nvPr/>
          </p:nvCxnSpPr>
          <p:spPr>
            <a:xfrm>
              <a:off x="6064355" y="1469798"/>
              <a:ext cx="5651355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LayoutConfig" hidden="1"/>
          <p:cNvSpPr txBox="1"/>
          <p:nvPr userDrawn="1"/>
        </p:nvSpPr>
        <p:spPr bwMode="gray">
          <a:xfrm>
            <a:off x="12700" y="12700"/>
            <a:ext cx="35426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993693703734827 columns_1_131993693703734827 </a:t>
            </a:r>
          </a:p>
        </p:txBody>
      </p:sp>
    </p:spTree>
    <p:extLst>
      <p:ext uri="{BB962C8B-B14F-4D97-AF65-F5344CB8AC3E}">
        <p14:creationId xmlns:p14="http://schemas.microsoft.com/office/powerpoint/2010/main" val="229306587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7264">
          <p15:clr>
            <a:srgbClr val="CCCCCC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639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/>
        </p:nvSpPr>
        <p:spPr bwMode="gray">
          <a:xfrm>
            <a:off x="12700" y="12700"/>
            <a:ext cx="42696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691348272662829 columns_1_131691348272662829 </a:t>
            </a:r>
          </a:p>
        </p:txBody>
      </p:sp>
    </p:spTree>
    <p:extLst>
      <p:ext uri="{BB962C8B-B14F-4D97-AF65-F5344CB8AC3E}">
        <p14:creationId xmlns:p14="http://schemas.microsoft.com/office/powerpoint/2010/main" val="3296150519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pos="232">
          <p15:clr>
            <a:srgbClr val="CCCCCC"/>
          </p15:clr>
        </p15:guide>
        <p15:guide id="2" pos="1217">
          <p15:clr>
            <a:srgbClr val="CCCCCC"/>
          </p15:clr>
        </p15:guide>
        <p15:guide id="3" pos="1441">
          <p15:clr>
            <a:srgbClr val="CCCCCC"/>
          </p15:clr>
        </p15:guide>
        <p15:guide id="4" pos="2426">
          <p15:clr>
            <a:srgbClr val="CCCCCC"/>
          </p15:clr>
        </p15:guide>
        <p15:guide id="5" pos="2650">
          <p15:clr>
            <a:srgbClr val="CCCCCC"/>
          </p15:clr>
        </p15:guide>
        <p15:guide id="6" pos="3635">
          <p15:clr>
            <a:srgbClr val="CCCCCC"/>
          </p15:clr>
        </p15:guide>
        <p15:guide id="7" pos="3859">
          <p15:clr>
            <a:srgbClr val="CCCCCC"/>
          </p15:clr>
        </p15:guide>
        <p15:guide id="8" pos="4845">
          <p15:clr>
            <a:srgbClr val="CCCCCC"/>
          </p15:clr>
        </p15:guide>
        <p15:guide id="9" pos="5069">
          <p15:clr>
            <a:srgbClr val="CCCCCC"/>
          </p15:clr>
        </p15:guide>
        <p15:guide id="10" pos="6054">
          <p15:clr>
            <a:srgbClr val="CCCCCC"/>
          </p15:clr>
        </p15:guide>
        <p15:guide id="11" pos="6278">
          <p15:clr>
            <a:srgbClr val="CCCCCC"/>
          </p15:clr>
        </p15:guide>
        <p15:guide id="12" pos="7263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117" y="928724"/>
            <a:ext cx="11176000" cy="5292884"/>
          </a:xfrm>
        </p:spPr>
        <p:txBody>
          <a:bodyPr/>
          <a:lstStyle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3118" y="-85100"/>
            <a:ext cx="11199284" cy="71913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3665010" y="6680800"/>
            <a:ext cx="4635500" cy="1651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455304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117" y="1314451"/>
            <a:ext cx="5486400" cy="4811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2717" y="1314451"/>
            <a:ext cx="5486400" cy="4811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90945" y="6591361"/>
            <a:ext cx="743776" cy="36579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013753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49829"/>
            <a:ext cx="5386917" cy="825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349829"/>
            <a:ext cx="5389033" cy="825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85434" y="-85100"/>
            <a:ext cx="9596967" cy="7191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0767838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834303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572" y="-85100"/>
            <a:ext cx="11255830" cy="719137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705738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117600" y="1117600"/>
            <a:ext cx="10126133" cy="52197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72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199" y="1270000"/>
            <a:ext cx="10769603" cy="513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8898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6.w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5434" y="-85100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928724"/>
            <a:ext cx="11176000" cy="5292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83117" y="635625"/>
            <a:ext cx="11199283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0000"/>
              </a:solidFill>
              <a:ea typeface="ＭＳ Ｐゴシック" charset="-128"/>
            </a:endParaRPr>
          </a:p>
        </p:txBody>
      </p:sp>
      <p:pic>
        <p:nvPicPr>
          <p:cNvPr id="21510" name="Picture 4" descr="strip_device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3485" y="0"/>
            <a:ext cx="4085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-1371600" y="2160589"/>
            <a:ext cx="1138767" cy="871537"/>
          </a:xfrm>
          <a:prstGeom prst="rect">
            <a:avLst/>
          </a:prstGeom>
          <a:solidFill>
            <a:srgbClr val="009CDC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ullets 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56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220</a:t>
            </a:r>
          </a:p>
        </p:txBody>
      </p:sp>
      <p:sp>
        <p:nvSpPr>
          <p:cNvPr id="20" name="Rectangle 8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-1371600" y="1162051"/>
            <a:ext cx="1138767" cy="871537"/>
          </a:xfrm>
          <a:prstGeom prst="rect">
            <a:avLst/>
          </a:prstGeom>
          <a:solidFill>
            <a:srgbClr val="0070C0">
              <a:alpha val="81569"/>
            </a:srgbClr>
          </a:solidFill>
          <a:ln>
            <a:noFill/>
          </a:ln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Body Text &amp; Line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12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92</a:t>
            </a:r>
          </a:p>
        </p:txBody>
      </p:sp>
      <p:sp>
        <p:nvSpPr>
          <p:cNvPr id="21" name="Rectangle 7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-1371600" y="163514"/>
            <a:ext cx="1138767" cy="871537"/>
          </a:xfrm>
          <a:prstGeom prst="rect">
            <a:avLst/>
          </a:prstGeom>
          <a:solidFill>
            <a:srgbClr val="0067B1">
              <a:alpha val="8196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5250" tIns="47625" rIns="95250" bIns="47625" anchor="ctr"/>
          <a:lstStyle/>
          <a:p>
            <a:pPr>
              <a:lnSpc>
                <a:spcPts val="1200"/>
              </a:lnSpc>
            </a:pPr>
            <a:r>
              <a:rPr lang="en-US" sz="1000" b="1">
                <a:solidFill>
                  <a:srgbClr val="FFFFFF"/>
                </a:solidFill>
              </a:rPr>
              <a:t>Titles &amp; Fillings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R: 000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G: 103</a:t>
            </a:r>
          </a:p>
          <a:p>
            <a:pPr>
              <a:lnSpc>
                <a:spcPts val="1200"/>
              </a:lnSpc>
            </a:pPr>
            <a:r>
              <a:rPr lang="en-US" sz="1000">
                <a:solidFill>
                  <a:srgbClr val="FFFFFF"/>
                </a:solidFill>
              </a:rPr>
              <a:t>B: 177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39809" y="6583169"/>
            <a:ext cx="742951" cy="36036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50DCDA-C2A3-45A8-AFDC-AAADDD3BA7CC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287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79" r:id="rId12"/>
    <p:sldLayoutId id="2147484058" r:id="rId13"/>
  </p:sldLayoutIdLst>
  <p:transition>
    <p:wipe dir="r"/>
  </p:transition>
  <p:hf hdr="0" ftr="0" dt="0"/>
  <p:txStyles>
    <p:titleStyle>
      <a:lvl1pPr algn="r" rtl="0" fontAlgn="base">
        <a:spcBef>
          <a:spcPct val="0"/>
        </a:spcBef>
        <a:spcAft>
          <a:spcPct val="0"/>
        </a:spcAft>
        <a:defRPr sz="2000" b="1">
          <a:solidFill>
            <a:srgbClr val="0067B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67B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2400">
          <a:solidFill>
            <a:srgbClr val="0067B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000">
          <a:solidFill>
            <a:srgbClr val="0067B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rgbClr val="0067B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rgbClr val="0067B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rgbClr val="0067B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200">
          <a:solidFill>
            <a:srgbClr val="0067B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45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3118" y="287339"/>
            <a:ext cx="959696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5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3117" y="1314451"/>
            <a:ext cx="11176000" cy="481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sp>
        <p:nvSpPr>
          <p:cNvPr id="66458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36301" y="6369051"/>
            <a:ext cx="742951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75494460-D82A-4D0F-8F1C-0FEE718DDEE5}" type="slidenum">
              <a:rPr lang="fr-FR" smtClean="0">
                <a:solidFill>
                  <a:srgbClr val="0067B1"/>
                </a:solidFill>
                <a:ea typeface="ＭＳ Ｐゴシック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>
              <a:solidFill>
                <a:srgbClr val="0067B1"/>
              </a:solidFill>
              <a:ea typeface="ＭＳ Ｐゴシック" pitchFamily="34" charset="-128"/>
            </a:endParaRPr>
          </a:p>
        </p:txBody>
      </p:sp>
      <p:pic>
        <p:nvPicPr>
          <p:cNvPr id="664582" name="Picture 9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ine 10"/>
          <p:cNvSpPr>
            <a:spLocks noChangeShapeType="1"/>
          </p:cNvSpPr>
          <p:nvPr userDrawn="1"/>
        </p:nvSpPr>
        <p:spPr bwMode="auto">
          <a:xfrm>
            <a:off x="383117" y="1008063"/>
            <a:ext cx="9601200" cy="0"/>
          </a:xfrm>
          <a:prstGeom prst="line">
            <a:avLst/>
          </a:prstGeom>
          <a:noFill/>
          <a:ln w="19050">
            <a:solidFill>
              <a:srgbClr val="009DDC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F8F8F8"/>
              </a:solidFill>
              <a:ea typeface="ＭＳ Ｐゴシック" charset="-128"/>
            </a:endParaRPr>
          </a:p>
        </p:txBody>
      </p:sp>
      <p:pic>
        <p:nvPicPr>
          <p:cNvPr id="664585" name="Picture 9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0"/>
            <a:ext cx="406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 4" descr="logo_PMI_vertical.wmf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6076" y="279401"/>
            <a:ext cx="9017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173483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</p:sldLayoutIdLst>
  <p:transition>
    <p:wipe dir="r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●"/>
        <a:defRPr sz="3200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2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20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Font typeface="Arial" charset="0"/>
        <a:buChar char="­"/>
        <a:defRPr sz="18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600">
          <a:solidFill>
            <a:schemeClr val="bg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9CDC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pmjpn.service-now.com/sp_pbos?id=pmj_initiative_details&amp;sys_id=cb8b93fd93eb12508859b9f97bba109e&amp;table=u_pmj_initiative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28FB8-6EEC-97EC-343C-0091525D73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700B7-6D06-CE65-A706-4EA2CEE4A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6" y="94650"/>
            <a:ext cx="11166766" cy="539387"/>
          </a:xfrm>
        </p:spPr>
        <p:txBody>
          <a:bodyPr wrap="square" anchor="b">
            <a:normAutofit/>
          </a:bodyPr>
          <a:lstStyle/>
          <a:p>
            <a:pPr algn="l"/>
            <a:r>
              <a:rPr lang="en-US" dirty="0"/>
              <a:t>High-level WB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4922D-92BC-8F1A-F37D-DB33583D1A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6B4C954-66AB-41D8-88B0-5CCF6B89347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8391370-948B-6E30-A01F-D263C211C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96192"/>
              </p:ext>
            </p:extLst>
          </p:nvPr>
        </p:nvGraphicFramePr>
        <p:xfrm>
          <a:off x="415635" y="714703"/>
          <a:ext cx="11072402" cy="5760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726">
                  <a:extLst>
                    <a:ext uri="{9D8B030D-6E8A-4147-A177-3AD203B41FA5}">
                      <a16:colId xmlns:a16="http://schemas.microsoft.com/office/drawing/2014/main" val="1664148369"/>
                    </a:ext>
                  </a:extLst>
                </a:gridCol>
                <a:gridCol w="1611816">
                  <a:extLst>
                    <a:ext uri="{9D8B030D-6E8A-4147-A177-3AD203B41FA5}">
                      <a16:colId xmlns:a16="http://schemas.microsoft.com/office/drawing/2014/main" val="3739203125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3162003173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3075344329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2476974940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1688950447"/>
                    </a:ext>
                  </a:extLst>
                </a:gridCol>
                <a:gridCol w="1581772">
                  <a:extLst>
                    <a:ext uri="{9D8B030D-6E8A-4147-A177-3AD203B41FA5}">
                      <a16:colId xmlns:a16="http://schemas.microsoft.com/office/drawing/2014/main" val="2705384473"/>
                    </a:ext>
                  </a:extLst>
                </a:gridCol>
              </a:tblGrid>
              <a:tr h="278719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WORKSTREAM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2 202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3 2025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Q4 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3485394"/>
                  </a:ext>
                </a:extLst>
              </a:tr>
              <a:tr h="3386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U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JU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AU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SE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O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9073245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2956455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IO: </a:t>
                      </a:r>
                    </a:p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Commercial 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044872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0558245"/>
                  </a:ext>
                </a:extLst>
              </a:tr>
              <a:tr h="128586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CONTR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196714"/>
                  </a:ext>
                </a:extLst>
              </a:tr>
            </a:tbl>
          </a:graphicData>
        </a:graphic>
      </p:graphicFrame>
      <p:sp>
        <p:nvSpPr>
          <p:cNvPr id="11" name="Rectangle 3">
            <a:extLst>
              <a:ext uri="{FF2B5EF4-FFF2-40B4-BE49-F238E27FC236}">
                <a16:creationId xmlns:a16="http://schemas.microsoft.com/office/drawing/2014/main" id="{FCBF16B1-F5A4-08FC-A5CF-5A81BB8826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2497" y="320847"/>
            <a:ext cx="8029903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hlinkClick r:id="rId2"/>
              </a:rPr>
              <a:t>JP25P3A-0016 | IMS (Inventory Management System) delivery 2025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735A8B7F-3663-BE89-02FE-60E47C5809FE}"/>
              </a:ext>
            </a:extLst>
          </p:cNvPr>
          <p:cNvSpPr/>
          <p:nvPr/>
        </p:nvSpPr>
        <p:spPr>
          <a:xfrm>
            <a:off x="1134823" y="1802543"/>
            <a:ext cx="10337885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27746B2-92B9-107A-CF5F-B2A96D480861}"/>
              </a:ext>
            </a:extLst>
          </p:cNvPr>
          <p:cNvGrpSpPr/>
          <p:nvPr/>
        </p:nvGrpSpPr>
        <p:grpSpPr>
          <a:xfrm>
            <a:off x="2937816" y="1690727"/>
            <a:ext cx="445289" cy="406032"/>
            <a:chOff x="4214649" y="1560810"/>
            <a:chExt cx="557048" cy="525517"/>
          </a:xfrm>
        </p:grpSpPr>
        <p:sp>
          <p:nvSpPr>
            <p:cNvPr id="18" name="Diamond 17">
              <a:extLst>
                <a:ext uri="{FF2B5EF4-FFF2-40B4-BE49-F238E27FC236}">
                  <a16:creationId xmlns:a16="http://schemas.microsoft.com/office/drawing/2014/main" id="{2A31860B-8F02-CAA4-5C86-EE8DC2D72E6C}"/>
                </a:ext>
              </a:extLst>
            </p:cNvPr>
            <p:cNvSpPr/>
            <p:nvPr/>
          </p:nvSpPr>
          <p:spPr>
            <a:xfrm>
              <a:off x="4214649" y="1560810"/>
              <a:ext cx="557048" cy="525517"/>
            </a:xfrm>
            <a:prstGeom prst="diamond">
              <a:avLst/>
            </a:prstGeom>
            <a:solidFill>
              <a:srgbClr val="29AB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latin typeface="Aptos Narrow" panose="020B00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1EE039A-4BD0-1479-DA90-8218770D1DC5}"/>
                </a:ext>
              </a:extLst>
            </p:cNvPr>
            <p:cNvSpPr txBox="1"/>
            <p:nvPr/>
          </p:nvSpPr>
          <p:spPr>
            <a:xfrm>
              <a:off x="4266370" y="1654290"/>
              <a:ext cx="453606" cy="358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G3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4CE6364-0496-7F91-4BDB-6090D8A314E6}"/>
              </a:ext>
            </a:extLst>
          </p:cNvPr>
          <p:cNvGrpSpPr/>
          <p:nvPr/>
        </p:nvGrpSpPr>
        <p:grpSpPr>
          <a:xfrm>
            <a:off x="4765429" y="1658894"/>
            <a:ext cx="445289" cy="406032"/>
            <a:chOff x="4214649" y="1560810"/>
            <a:chExt cx="557048" cy="525517"/>
          </a:xfrm>
        </p:grpSpPr>
        <p:sp>
          <p:nvSpPr>
            <p:cNvPr id="31" name="Diamond 30">
              <a:extLst>
                <a:ext uri="{FF2B5EF4-FFF2-40B4-BE49-F238E27FC236}">
                  <a16:creationId xmlns:a16="http://schemas.microsoft.com/office/drawing/2014/main" id="{2FB81F36-566C-084E-77E3-B61B44525025}"/>
                </a:ext>
              </a:extLst>
            </p:cNvPr>
            <p:cNvSpPr/>
            <p:nvPr/>
          </p:nvSpPr>
          <p:spPr>
            <a:xfrm>
              <a:off x="4214649" y="1560810"/>
              <a:ext cx="557048" cy="525517"/>
            </a:xfrm>
            <a:prstGeom prst="diamond">
              <a:avLst/>
            </a:prstGeom>
            <a:solidFill>
              <a:srgbClr val="29AB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latin typeface="Aptos Narrow" panose="020B00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A1DC9B1-B7D2-50D3-DAC0-A65957844268}"/>
                </a:ext>
              </a:extLst>
            </p:cNvPr>
            <p:cNvSpPr txBox="1"/>
            <p:nvPr/>
          </p:nvSpPr>
          <p:spPr>
            <a:xfrm>
              <a:off x="4266370" y="1654290"/>
              <a:ext cx="453606" cy="358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G5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E841628-5B05-1CDC-84C4-5EC205FE8FE8}"/>
              </a:ext>
            </a:extLst>
          </p:cNvPr>
          <p:cNvGrpSpPr/>
          <p:nvPr/>
        </p:nvGrpSpPr>
        <p:grpSpPr>
          <a:xfrm>
            <a:off x="8990195" y="1658894"/>
            <a:ext cx="445289" cy="406032"/>
            <a:chOff x="4214649" y="1560810"/>
            <a:chExt cx="557048" cy="525517"/>
          </a:xfrm>
        </p:grpSpPr>
        <p:sp>
          <p:nvSpPr>
            <p:cNvPr id="37" name="Diamond 36">
              <a:extLst>
                <a:ext uri="{FF2B5EF4-FFF2-40B4-BE49-F238E27FC236}">
                  <a16:creationId xmlns:a16="http://schemas.microsoft.com/office/drawing/2014/main" id="{4EF15427-CA47-6397-7DA3-77F7B2E67393}"/>
                </a:ext>
              </a:extLst>
            </p:cNvPr>
            <p:cNvSpPr/>
            <p:nvPr/>
          </p:nvSpPr>
          <p:spPr>
            <a:xfrm>
              <a:off x="4214649" y="1560810"/>
              <a:ext cx="557048" cy="525517"/>
            </a:xfrm>
            <a:prstGeom prst="diamond">
              <a:avLst/>
            </a:prstGeom>
            <a:solidFill>
              <a:srgbClr val="29AB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latin typeface="Aptos Narrow" panose="020B00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169C53A-D17D-19A4-E216-DFF6A8742801}"/>
                </a:ext>
              </a:extLst>
            </p:cNvPr>
            <p:cNvSpPr txBox="1"/>
            <p:nvPr/>
          </p:nvSpPr>
          <p:spPr>
            <a:xfrm>
              <a:off x="4266370" y="1654290"/>
              <a:ext cx="453606" cy="358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G6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838D110-A6BF-C4A5-00D8-BF1E0EBF3AB6}"/>
              </a:ext>
            </a:extLst>
          </p:cNvPr>
          <p:cNvGrpSpPr/>
          <p:nvPr/>
        </p:nvGrpSpPr>
        <p:grpSpPr>
          <a:xfrm>
            <a:off x="10611888" y="1652967"/>
            <a:ext cx="445289" cy="406032"/>
            <a:chOff x="4214649" y="1560810"/>
            <a:chExt cx="557048" cy="525517"/>
          </a:xfrm>
        </p:grpSpPr>
        <p:sp>
          <p:nvSpPr>
            <p:cNvPr id="40" name="Diamond 39">
              <a:extLst>
                <a:ext uri="{FF2B5EF4-FFF2-40B4-BE49-F238E27FC236}">
                  <a16:creationId xmlns:a16="http://schemas.microsoft.com/office/drawing/2014/main" id="{5B9B4FFB-C4CD-A98E-7BF1-7FD12BC0EF0A}"/>
                </a:ext>
              </a:extLst>
            </p:cNvPr>
            <p:cNvSpPr/>
            <p:nvPr/>
          </p:nvSpPr>
          <p:spPr>
            <a:xfrm>
              <a:off x="4214649" y="1560810"/>
              <a:ext cx="557048" cy="525517"/>
            </a:xfrm>
            <a:prstGeom prst="diamond">
              <a:avLst/>
            </a:prstGeom>
            <a:solidFill>
              <a:srgbClr val="29AB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latin typeface="Aptos Narrow" panose="020B00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F2F3C96-C176-763E-26E2-5A70813C3E07}"/>
                </a:ext>
              </a:extLst>
            </p:cNvPr>
            <p:cNvSpPr txBox="1"/>
            <p:nvPr/>
          </p:nvSpPr>
          <p:spPr>
            <a:xfrm>
              <a:off x="4266370" y="1654290"/>
              <a:ext cx="453606" cy="358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G7</a:t>
              </a:r>
            </a:p>
          </p:txBody>
        </p:sp>
      </p:grp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8F0931CB-FB73-68CF-87BA-25EC2AB8DB83}"/>
              </a:ext>
            </a:extLst>
          </p:cNvPr>
          <p:cNvSpPr/>
          <p:nvPr/>
        </p:nvSpPr>
        <p:spPr>
          <a:xfrm>
            <a:off x="9457242" y="2974478"/>
            <a:ext cx="1404454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son Learned</a:t>
            </a: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EA911743-3F5D-023B-3A88-99C9F6063DDE}"/>
              </a:ext>
            </a:extLst>
          </p:cNvPr>
          <p:cNvSpPr/>
          <p:nvPr/>
        </p:nvSpPr>
        <p:spPr>
          <a:xfrm>
            <a:off x="3383105" y="5477662"/>
            <a:ext cx="1196452" cy="406033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white"/>
                </a:solidFill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e Diligenc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Light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B645BEA-A66C-CEAD-6826-3DECEFB1B958}"/>
              </a:ext>
            </a:extLst>
          </p:cNvPr>
          <p:cNvSpPr txBox="1"/>
          <p:nvPr/>
        </p:nvSpPr>
        <p:spPr>
          <a:xfrm>
            <a:off x="1164440" y="1798443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ptos Narrow" panose="020B0004020202020204" pitchFamily="34" charset="0"/>
              </a:rPr>
              <a:t>PGCM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52C4FC0-5BFA-B2BA-2BE5-EA6A33645766}"/>
              </a:ext>
            </a:extLst>
          </p:cNvPr>
          <p:cNvSpPr/>
          <p:nvPr/>
        </p:nvSpPr>
        <p:spPr>
          <a:xfrm>
            <a:off x="1134822" y="2223241"/>
            <a:ext cx="10337885" cy="277000"/>
          </a:xfrm>
          <a:prstGeom prst="roundRect">
            <a:avLst>
              <a:gd name="adj" fmla="val 0"/>
            </a:avLst>
          </a:prstGeom>
          <a:solidFill>
            <a:srgbClr val="287FB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C926248-1D88-5AD7-C4CD-8FE7811DD106}"/>
              </a:ext>
            </a:extLst>
          </p:cNvPr>
          <p:cNvSpPr txBox="1"/>
          <p:nvPr/>
        </p:nvSpPr>
        <p:spPr>
          <a:xfrm>
            <a:off x="1119492" y="2226140"/>
            <a:ext cx="8187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ptos Narrow" panose="020B0004020202020204" pitchFamily="34" charset="0"/>
              </a:rPr>
              <a:t>LAUNCH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E4D70D-1929-310B-AE9D-517E9AA15D84}"/>
              </a:ext>
            </a:extLst>
          </p:cNvPr>
          <p:cNvGrpSpPr/>
          <p:nvPr/>
        </p:nvGrpSpPr>
        <p:grpSpPr>
          <a:xfrm>
            <a:off x="4925491" y="2093945"/>
            <a:ext cx="445289" cy="425882"/>
            <a:chOff x="4925491" y="2340833"/>
            <a:chExt cx="445289" cy="425882"/>
          </a:xfrm>
        </p:grpSpPr>
        <p:sp>
          <p:nvSpPr>
            <p:cNvPr id="48" name="Isosceles Triangle 47">
              <a:extLst>
                <a:ext uri="{FF2B5EF4-FFF2-40B4-BE49-F238E27FC236}">
                  <a16:creationId xmlns:a16="http://schemas.microsoft.com/office/drawing/2014/main" id="{C5A5DDC2-79CF-7FD0-3510-6C63A0FEA1DD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26062CC-2C9C-9950-83AF-90689AD86D8B}"/>
                </a:ext>
              </a:extLst>
            </p:cNvPr>
            <p:cNvSpPr txBox="1"/>
            <p:nvPr/>
          </p:nvSpPr>
          <p:spPr>
            <a:xfrm>
              <a:off x="4970953" y="2458938"/>
              <a:ext cx="3577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1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673A947-A024-4DF6-8C64-80647BCB34E6}"/>
              </a:ext>
            </a:extLst>
          </p:cNvPr>
          <p:cNvGrpSpPr/>
          <p:nvPr/>
        </p:nvGrpSpPr>
        <p:grpSpPr>
          <a:xfrm>
            <a:off x="6113353" y="2093945"/>
            <a:ext cx="445289" cy="425882"/>
            <a:chOff x="4925491" y="2340833"/>
            <a:chExt cx="445289" cy="425882"/>
          </a:xfrm>
        </p:grpSpPr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E14D74B2-16D1-D2A5-DFC3-89D8B9970B68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AAA3824-E81B-7DB4-E9C5-6FC694D5277A}"/>
                </a:ext>
              </a:extLst>
            </p:cNvPr>
            <p:cNvSpPr txBox="1"/>
            <p:nvPr/>
          </p:nvSpPr>
          <p:spPr>
            <a:xfrm>
              <a:off x="4970953" y="2458938"/>
              <a:ext cx="3577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2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BE1AD70-B928-A822-58D2-FAC392BF359D}"/>
              </a:ext>
            </a:extLst>
          </p:cNvPr>
          <p:cNvGrpSpPr/>
          <p:nvPr/>
        </p:nvGrpSpPr>
        <p:grpSpPr>
          <a:xfrm>
            <a:off x="8990194" y="2112913"/>
            <a:ext cx="445289" cy="425882"/>
            <a:chOff x="4925491" y="2340833"/>
            <a:chExt cx="445289" cy="425882"/>
          </a:xfrm>
        </p:grpSpPr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7B0CB015-32C9-D3C4-81C4-F50B3D96D559}"/>
                </a:ext>
              </a:extLst>
            </p:cNvPr>
            <p:cNvSpPr/>
            <p:nvPr/>
          </p:nvSpPr>
          <p:spPr>
            <a:xfrm>
              <a:off x="4925491" y="2340833"/>
              <a:ext cx="445289" cy="383870"/>
            </a:xfrm>
            <a:prstGeom prst="triangl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3141248-9731-B5A9-FDA7-0B5471C9A5C0}"/>
                </a:ext>
              </a:extLst>
            </p:cNvPr>
            <p:cNvSpPr txBox="1"/>
            <p:nvPr/>
          </p:nvSpPr>
          <p:spPr>
            <a:xfrm>
              <a:off x="4970953" y="2458938"/>
              <a:ext cx="3577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ptos Narrow" panose="020B0004020202020204" pitchFamily="34" charset="0"/>
                </a:rPr>
                <a:t>L3</a:t>
              </a:r>
            </a:p>
          </p:txBody>
        </p:sp>
      </p:grpSp>
      <p:sp>
        <p:nvSpPr>
          <p:cNvPr id="62" name="Arrow: Pentagon 61">
            <a:extLst>
              <a:ext uri="{FF2B5EF4-FFF2-40B4-BE49-F238E27FC236}">
                <a16:creationId xmlns:a16="http://schemas.microsoft.com/office/drawing/2014/main" id="{B662DA00-ED8C-0EE2-8A93-AA42C23AFE79}"/>
              </a:ext>
            </a:extLst>
          </p:cNvPr>
          <p:cNvSpPr/>
          <p:nvPr/>
        </p:nvSpPr>
        <p:spPr>
          <a:xfrm>
            <a:off x="2612895" y="4267594"/>
            <a:ext cx="1196452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white"/>
                </a:solidFill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sessmen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Light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Arrow: Pentagon 62">
            <a:extLst>
              <a:ext uri="{FF2B5EF4-FFF2-40B4-BE49-F238E27FC236}">
                <a16:creationId xmlns:a16="http://schemas.microsoft.com/office/drawing/2014/main" id="{EF0CC2D9-1337-F2CF-A90C-230ACB0FAF71}"/>
              </a:ext>
            </a:extLst>
          </p:cNvPr>
          <p:cNvSpPr/>
          <p:nvPr/>
        </p:nvSpPr>
        <p:spPr>
          <a:xfrm>
            <a:off x="3809347" y="4282879"/>
            <a:ext cx="892193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</a:t>
            </a:r>
          </a:p>
        </p:txBody>
      </p:sp>
      <p:sp>
        <p:nvSpPr>
          <p:cNvPr id="64" name="Arrow: Pentagon 63">
            <a:extLst>
              <a:ext uri="{FF2B5EF4-FFF2-40B4-BE49-F238E27FC236}">
                <a16:creationId xmlns:a16="http://schemas.microsoft.com/office/drawing/2014/main" id="{8F5F4900-D357-C36B-A664-EA4C0CDABFE9}"/>
              </a:ext>
            </a:extLst>
          </p:cNvPr>
          <p:cNvSpPr/>
          <p:nvPr/>
        </p:nvSpPr>
        <p:spPr>
          <a:xfrm>
            <a:off x="4727864" y="4282879"/>
            <a:ext cx="357790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65" name="Arrow: Pentagon 64">
            <a:extLst>
              <a:ext uri="{FF2B5EF4-FFF2-40B4-BE49-F238E27FC236}">
                <a16:creationId xmlns:a16="http://schemas.microsoft.com/office/drawing/2014/main" id="{5655C716-E531-9D88-0BD3-1B91496FA143}"/>
              </a:ext>
            </a:extLst>
          </p:cNvPr>
          <p:cNvSpPr/>
          <p:nvPr/>
        </p:nvSpPr>
        <p:spPr>
          <a:xfrm>
            <a:off x="6558643" y="4282879"/>
            <a:ext cx="1536146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</a:t>
            </a:r>
          </a:p>
        </p:txBody>
      </p: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1AFD719D-3330-11E1-189A-2CDEB21E9417}"/>
              </a:ext>
            </a:extLst>
          </p:cNvPr>
          <p:cNvSpPr/>
          <p:nvPr/>
        </p:nvSpPr>
        <p:spPr>
          <a:xfrm>
            <a:off x="8094788" y="4267594"/>
            <a:ext cx="569151" cy="552675"/>
          </a:xfrm>
          <a:prstGeom prst="homePlate">
            <a:avLst>
              <a:gd name="adj" fmla="val 21718"/>
            </a:avLst>
          </a:prstGeom>
          <a:solidFill>
            <a:srgbClr val="0472C0"/>
          </a:solidFill>
          <a:ln>
            <a:solidFill>
              <a:srgbClr val="287F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Light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4CE3A5D-84B3-239C-2BD8-41F8EB6C349B}"/>
              </a:ext>
            </a:extLst>
          </p:cNvPr>
          <p:cNvSpPr txBox="1"/>
          <p:nvPr/>
        </p:nvSpPr>
        <p:spPr>
          <a:xfrm>
            <a:off x="4688712" y="2604297"/>
            <a:ext cx="9076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1,#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62D5D9B-5F28-F8A5-0D72-4BC333479C26}"/>
              </a:ext>
            </a:extLst>
          </p:cNvPr>
          <p:cNvSpPr txBox="1"/>
          <p:nvPr/>
        </p:nvSpPr>
        <p:spPr>
          <a:xfrm>
            <a:off x="6025971" y="2604297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5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0A8903E-9E6C-1C27-84FC-894EA5FDA157}"/>
              </a:ext>
            </a:extLst>
          </p:cNvPr>
          <p:cNvSpPr txBox="1"/>
          <p:nvPr/>
        </p:nvSpPr>
        <p:spPr>
          <a:xfrm>
            <a:off x="8745176" y="2604297"/>
            <a:ext cx="9509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badi Extra Light" panose="020B0204020104020204" pitchFamily="34" charset="0"/>
              </a:rPr>
              <a:t>REQ #3, #4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0338BAE-9AF0-962B-B74F-45AAA1BA9EAD}"/>
              </a:ext>
            </a:extLst>
          </p:cNvPr>
          <p:cNvSpPr txBox="1"/>
          <p:nvPr/>
        </p:nvSpPr>
        <p:spPr>
          <a:xfrm>
            <a:off x="4687211" y="1398047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N-23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AD99C9F-A1D2-EDC5-9095-2153DA0861D9}"/>
              </a:ext>
            </a:extLst>
          </p:cNvPr>
          <p:cNvSpPr txBox="1"/>
          <p:nvPr/>
        </p:nvSpPr>
        <p:spPr>
          <a:xfrm>
            <a:off x="2845309" y="1437199"/>
            <a:ext cx="6587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MAY-26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A7D5A91-5B0C-730E-EB44-AB56D2F7C9A1}"/>
              </a:ext>
            </a:extLst>
          </p:cNvPr>
          <p:cNvSpPr txBox="1"/>
          <p:nvPr/>
        </p:nvSpPr>
        <p:spPr>
          <a:xfrm>
            <a:off x="6065245" y="2458523"/>
            <a:ext cx="6062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L-25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616F144-F9DA-B2EF-BC88-1788ED6F2D81}"/>
              </a:ext>
            </a:extLst>
          </p:cNvPr>
          <p:cNvSpPr txBox="1"/>
          <p:nvPr/>
        </p:nvSpPr>
        <p:spPr>
          <a:xfrm>
            <a:off x="8909709" y="1389473"/>
            <a:ext cx="621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SEP-1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80395F7-05E5-83C2-0C40-C85C7F2A8D61}"/>
              </a:ext>
            </a:extLst>
          </p:cNvPr>
          <p:cNvSpPr txBox="1"/>
          <p:nvPr/>
        </p:nvSpPr>
        <p:spPr>
          <a:xfrm>
            <a:off x="10550777" y="1397610"/>
            <a:ext cx="6483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OCT-27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D6CD38E-7E6D-32ED-83C7-AA73BE58ECC3}"/>
              </a:ext>
            </a:extLst>
          </p:cNvPr>
          <p:cNvSpPr txBox="1"/>
          <p:nvPr/>
        </p:nvSpPr>
        <p:spPr>
          <a:xfrm>
            <a:off x="4825770" y="2458523"/>
            <a:ext cx="633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JUN-3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6527094-B436-7157-5C77-4B0E4F02A3DD}"/>
              </a:ext>
            </a:extLst>
          </p:cNvPr>
          <p:cNvSpPr txBox="1"/>
          <p:nvPr/>
        </p:nvSpPr>
        <p:spPr>
          <a:xfrm>
            <a:off x="8909709" y="2458523"/>
            <a:ext cx="621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Aptos Narrow" panose="020B0004020202020204" pitchFamily="34" charset="0"/>
              </a:rPr>
              <a:t>SEP-17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D5B3731E-B4BD-2529-50AA-E67CC1937981}"/>
              </a:ext>
            </a:extLst>
          </p:cNvPr>
          <p:cNvCxnSpPr>
            <a:cxnSpLocks/>
          </p:cNvCxnSpPr>
          <p:nvPr/>
        </p:nvCxnSpPr>
        <p:spPr>
          <a:xfrm>
            <a:off x="2979160" y="459346"/>
            <a:ext cx="0" cy="6123823"/>
          </a:xfrm>
          <a:prstGeom prst="straightConnector1">
            <a:avLst/>
          </a:prstGeom>
          <a:solidFill>
            <a:schemeClr val="accent6">
              <a:lumMod val="50000"/>
            </a:schemeClr>
          </a:solidFill>
          <a:ln w="12700">
            <a:solidFill>
              <a:srgbClr val="0070C0"/>
            </a:solidFill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145235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4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4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U217uYQUamxAJltMLc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aG65p0pES0iYtqBxec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U217uYQUamxAJltMLc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Title">
  <a:themeElements>
    <a:clrScheme name="Tit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aster">
  <a:themeElements>
    <a:clrScheme name="2_Title 16">
      <a:dk1>
        <a:srgbClr val="808080"/>
      </a:dk1>
      <a:lt1>
        <a:srgbClr val="F8F8F8"/>
      </a:lt1>
      <a:dk2>
        <a:srgbClr val="0067B1"/>
      </a:dk2>
      <a:lt2>
        <a:srgbClr val="000000"/>
      </a:lt2>
      <a:accent1>
        <a:srgbClr val="009DDC"/>
      </a:accent1>
      <a:accent2>
        <a:srgbClr val="538E3F"/>
      </a:accent2>
      <a:accent3>
        <a:srgbClr val="AAB8D5"/>
      </a:accent3>
      <a:accent4>
        <a:srgbClr val="D4D4D4"/>
      </a:accent4>
      <a:accent5>
        <a:srgbClr val="AACCEB"/>
      </a:accent5>
      <a:accent6>
        <a:srgbClr val="4A8038"/>
      </a:accent6>
      <a:hlink>
        <a:srgbClr val="F99B1C"/>
      </a:hlink>
      <a:folHlink>
        <a:srgbClr val="BA1319"/>
      </a:folHlink>
    </a:clrScheme>
    <a:fontScheme name="2_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6350">
          <a:solidFill>
            <a:schemeClr val="tx1">
              <a:lumMod val="50000"/>
            </a:schemeClr>
          </a:solidFill>
          <a:headEnd type="none" w="med" len="med"/>
          <a:tailEnd type="none" w="med" len="med"/>
        </a:ln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Arial" charset="0"/>
            <a:ea typeface="ＭＳ Ｐゴシック" pitchFamily="34" charset="-128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 bwMode="auto">
        <a:ln w="19050">
          <a:solidFill>
            <a:schemeClr val="bg1"/>
          </a:solidFill>
          <a:prstDash val="solid"/>
          <a:headEnd type="none" w="med" len="med"/>
          <a:tailEnd type="triangle"/>
        </a:ln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3">
        <a:dk1>
          <a:srgbClr val="000000"/>
        </a:dk1>
        <a:lt1>
          <a:srgbClr val="0067B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itle 14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BBE0E3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5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333399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itle 16">
        <a:dk1>
          <a:srgbClr val="808080"/>
        </a:dk1>
        <a:lt1>
          <a:srgbClr val="F8F8F8"/>
        </a:lt1>
        <a:dk2>
          <a:srgbClr val="0067B1"/>
        </a:dk2>
        <a:lt2>
          <a:srgbClr val="000000"/>
        </a:lt2>
        <a:accent1>
          <a:srgbClr val="009DDC"/>
        </a:accent1>
        <a:accent2>
          <a:srgbClr val="538E3F"/>
        </a:accent2>
        <a:accent3>
          <a:srgbClr val="AAB8D5"/>
        </a:accent3>
        <a:accent4>
          <a:srgbClr val="D4D4D4"/>
        </a:accent4>
        <a:accent5>
          <a:srgbClr val="AACCEB"/>
        </a:accent5>
        <a:accent6>
          <a:srgbClr val="4A8038"/>
        </a:accent6>
        <a:hlink>
          <a:srgbClr val="F99B1C"/>
        </a:hlink>
        <a:folHlink>
          <a:srgbClr val="BA131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itle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9EB7B56E4ABE4E8949469E24BE066A" ma:contentTypeVersion="4" ma:contentTypeDescription="Create a new document." ma:contentTypeScope="" ma:versionID="aede39493925a13fcaac4bbdb7ace455">
  <xsd:schema xmlns:xsd="http://www.w3.org/2001/XMLSchema" xmlns:xs="http://www.w3.org/2001/XMLSchema" xmlns:p="http://schemas.microsoft.com/office/2006/metadata/properties" xmlns:ns2="c22a9ac9-2d21-47da-b7bc-f8758ef89c2f" targetNamespace="http://schemas.microsoft.com/office/2006/metadata/properties" ma:root="true" ma:fieldsID="74b30729c357d96574c6ee2a767e46dc" ns2:_="">
    <xsd:import namespace="c22a9ac9-2d21-47da-b7bc-f8758ef89c2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2a9ac9-2d21-47da-b7bc-f8758ef89c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DCA6D0E-6901-457A-B640-771BB794DD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2a9ac9-2d21-47da-b7bc-f8758ef89c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905DB15-463A-42C5-BDA2-A139F61987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C8072A-03F0-4D6B-BC9B-6DF18BECE2AA}">
  <ds:schemaRefs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c22a9ac9-2d21-47da-b7bc-f8758ef89c2f"/>
    <ds:schemaRef ds:uri="http://purl.org/dc/dcmitype/"/>
    <ds:schemaRef ds:uri="http://schemas.microsoft.com/office/infopath/2007/PartnerControls"/>
    <ds:schemaRef ds:uri="http://purl.org/dc/terms/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8b86a65e-3c3a-4406-8ac3-19a6b5cc52bc}" enabled="0" method="" siteId="{8b86a65e-3c3a-4406-8ac3-19a6b5cc52b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</Words>
  <Application>Microsoft Office PowerPoint</Application>
  <PresentationFormat>Widescreen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Helvetica Light</vt:lpstr>
      <vt:lpstr>ＭＳ Ｐゴシック</vt:lpstr>
      <vt:lpstr>Planer Medium</vt:lpstr>
      <vt:lpstr>Abadi Extra Light</vt:lpstr>
      <vt:lpstr>Aptos Light</vt:lpstr>
      <vt:lpstr>Aptos Narrow</vt:lpstr>
      <vt:lpstr>Arial</vt:lpstr>
      <vt:lpstr>Calibri</vt:lpstr>
      <vt:lpstr>Lato Medium</vt:lpstr>
      <vt:lpstr>5_Title</vt:lpstr>
      <vt:lpstr>Master</vt:lpstr>
      <vt:lpstr>think-cell Slide</vt:lpstr>
      <vt:lpstr>High-level WBS</vt:lpstr>
    </vt:vector>
  </TitlesOfParts>
  <Company>Philip Morri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yalty Project Status Report</dc:title>
  <dc:creator>Saneet.Phanse@pmi.com</dc:creator>
  <cp:lastModifiedBy>Onishi, Ken</cp:lastModifiedBy>
  <cp:revision>6</cp:revision>
  <cp:lastPrinted>2019-12-06T05:50:05Z</cp:lastPrinted>
  <dcterms:created xsi:type="dcterms:W3CDTF">2019-11-01T03:22:48Z</dcterms:created>
  <dcterms:modified xsi:type="dcterms:W3CDTF">2025-05-21T06:02:01Z</dcterms:modified>
  <cp:contentStatus>DDCP Status Repor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9EB7B56E4ABE4E8949469E24BE066A</vt:lpwstr>
  </property>
</Properties>
</file>